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64" r:id="rId2"/>
    <p:sldId id="256" r:id="rId3"/>
    <p:sldId id="257" r:id="rId4"/>
    <p:sldId id="258" r:id="rId5"/>
    <p:sldId id="259" r:id="rId6"/>
    <p:sldId id="260" r:id="rId7"/>
    <p:sldId id="261" r:id="rId8"/>
    <p:sldId id="262" r:id="rId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1B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82" d="100"/>
          <a:sy n="82" d="100"/>
        </p:scale>
        <p:origin x="-1026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2"/>
          <p:cNvSpPr/>
          <p:nvPr userDrawn="1"/>
        </p:nvSpPr>
        <p:spPr>
          <a:xfrm>
            <a:off x="-3175" y="3175"/>
            <a:ext cx="9150350" cy="611505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4000" y="701552"/>
            <a:ext cx="8316000" cy="4985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>
          <a:xfrm>
            <a:off x="0" y="1681163"/>
            <a:ext cx="5000625" cy="533400"/>
          </a:xfr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0" indent="0">
              <a:buFont typeface="Arial" panose="020B0604020202020204" pitchFamily="34" charset="0"/>
              <a:buNone/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/>
          </p:nvPr>
        </p:nvSpPr>
        <p:spPr>
          <a:xfrm>
            <a:off x="3175" y="2319977"/>
            <a:ext cx="4997150" cy="525886"/>
          </a:xfr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216000" indent="-216000">
              <a:buNone/>
              <a:defRPr lang="de-DE" sz="2000" smtClean="0">
                <a:solidFill>
                  <a:schemeClr val="accent2">
                    <a:lumMod val="75000"/>
                  </a:schemeClr>
                </a:solidFill>
              </a:defRPr>
            </a:lvl1pPr>
            <a:lvl2pPr>
              <a:defRPr lang="de-DE" smtClean="0">
                <a:solidFill>
                  <a:schemeClr val="lt1"/>
                </a:solidFill>
              </a:defRPr>
            </a:lvl2pPr>
            <a:lvl3pPr>
              <a:defRPr lang="de-DE" smtClean="0">
                <a:solidFill>
                  <a:schemeClr val="lt1"/>
                </a:solidFill>
              </a:defRPr>
            </a:lvl3pPr>
            <a:lvl4pPr>
              <a:defRPr lang="de-DE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ECB4B7-0D9B-427E-ADE6-46F4BC86A298}" type="slidenum">
              <a:rPr lang="en-US">
                <a:solidFill>
                  <a:srgbClr val="CCCCCC"/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srgbClr val="CCCC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071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5" y="6309320"/>
            <a:ext cx="1296143" cy="368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430DBB-9FD5-43E7-88F1-55A569E9525E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336665-E7E9-4861-9ADF-F11A47CBAD79}" type="slidenum">
              <a:rPr lang="nl-BE" smtClean="0"/>
              <a:t>‹N°›</a:t>
            </a:fld>
            <a:endParaRPr lang="nl-B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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-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jpeg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jpg"/><Relationship Id="rId4" Type="http://schemas.openxmlformats.org/officeDocument/2006/relationships/image" Target="../media/image8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jpg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jpeg"/><Relationship Id="rId5" Type="http://schemas.openxmlformats.org/officeDocument/2006/relationships/image" Target="../media/image5.jpg"/><Relationship Id="rId4" Type="http://schemas.openxmlformats.org/officeDocument/2006/relationships/image" Target="../media/image22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jpeg"/><Relationship Id="rId4" Type="http://schemas.openxmlformats.org/officeDocument/2006/relationships/image" Target="../media/image5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2693899"/>
            <a:ext cx="2857500" cy="165735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2693899"/>
            <a:ext cx="2857500" cy="1657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2693899"/>
            <a:ext cx="2857500" cy="1657350"/>
          </a:xfrm>
          <a:prstGeom prst="rect">
            <a:avLst/>
          </a:prstGeom>
        </p:spPr>
      </p:pic>
      <p:sp>
        <p:nvSpPr>
          <p:cNvPr id="5" name="Espace réservé du numéro de diapositive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61ECB4B7-0D9B-427E-ADE6-46F4BC86A298}" type="slidenum">
              <a:rPr lang="en-US" smtClean="0">
                <a:solidFill>
                  <a:srgbClr val="CCCCCC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CCCCCC"/>
              </a:solidFill>
            </a:endParaRPr>
          </a:p>
        </p:txBody>
      </p:sp>
      <p:sp>
        <p:nvSpPr>
          <p:cNvPr id="6" name="Titre 1"/>
          <p:cNvSpPr txBox="1">
            <a:spLocks/>
          </p:cNvSpPr>
          <p:nvPr/>
        </p:nvSpPr>
        <p:spPr bwMode="auto">
          <a:xfrm>
            <a:off x="45543" y="1301905"/>
            <a:ext cx="8964488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Clr>
                <a:srgbClr val="F8AC00"/>
              </a:buClr>
            </a:pP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Le Club Jet tours </a:t>
            </a:r>
          </a:p>
          <a:p>
            <a:pPr algn="ctr" eaLnBrk="1" hangingPunct="1">
              <a:buClr>
                <a:srgbClr val="F8AC00"/>
              </a:buClr>
            </a:pP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Santiago</a:t>
            </a:r>
            <a:endParaRPr lang="fr-FR" sz="4000" b="1" dirty="0">
              <a:solidFill>
                <a:srgbClr val="B91B62"/>
              </a:solidFill>
              <a:ea typeface="+mn-ea"/>
              <a:cs typeface="+mn-cs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6284" y="5157192"/>
            <a:ext cx="2925366" cy="832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30246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72275"/>
          <a:chOff x="238125" y="152400"/>
          <a:chExt cx="8953500" cy="6772275"/>
        </a:xfrm>
      </p:grpSpPr>
      <p:pic>
        <p:nvPicPr>
          <p:cNvPr id="17" name="Picture 14" descr="D:\Doc\ELDO\sant4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837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362200"/>
            <a:ext cx="8715375" cy="714375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Un sit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remarquabl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au styl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résolumen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moder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qui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offr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imprenabl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les </a:t>
            </a:r>
            <a:r>
              <a:rPr sz="1400" b="1" i="0" u="none" strike="noStrike" dirty="0" err="1" smtClean="0">
                <a:solidFill>
                  <a:srgbClr val="6C6F70"/>
                </a:solidFill>
                <a:latin typeface="Calibri"/>
              </a:rPr>
              <a:t>falaises</a:t>
            </a:r>
            <a:r>
              <a:rPr lang="fr-FR" sz="14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de 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los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Gigante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l’îl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l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Gomera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électio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historiqu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réputé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Jet tours avec l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garanti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de 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l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qualité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service et de l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restauratio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Barcelo.</a:t>
            </a:r>
            <a:r>
              <a:rPr lang="fr-FR" sz="1400" b="1" i="1" u="none" strike="noStrike" dirty="0" smtClean="0">
                <a:solidFill>
                  <a:srgbClr val="6C6F70"/>
                </a:solidFill>
                <a:latin typeface="Calibri"/>
              </a:rPr>
              <a:t>A 45 km de l’aéroport de </a:t>
            </a:r>
            <a:r>
              <a:rPr lang="fr-FR" sz="1400" b="1" i="1" u="none" strike="noStrike" dirty="0" err="1" smtClean="0">
                <a:solidFill>
                  <a:srgbClr val="6C6F70"/>
                </a:solidFill>
                <a:latin typeface="Calibri"/>
              </a:rPr>
              <a:t>Ténérife</a:t>
            </a:r>
            <a:r>
              <a:rPr lang="fr-FR" sz="1400" b="1" i="1" u="none" strike="noStrike" dirty="0" smtClean="0">
                <a:solidFill>
                  <a:srgbClr val="6C6F70"/>
                </a:solidFill>
                <a:latin typeface="Calibri"/>
              </a:rPr>
              <a:t> sud. A 2 km de </a:t>
            </a:r>
            <a:r>
              <a:rPr lang="fr-FR" sz="1400" b="1" i="1" u="none" strike="noStrike" dirty="0" err="1" smtClean="0">
                <a:solidFill>
                  <a:srgbClr val="6C6F70"/>
                </a:solidFill>
                <a:latin typeface="Calibri"/>
              </a:rPr>
              <a:t>Puerto</a:t>
            </a:r>
            <a:r>
              <a:rPr lang="fr-FR" sz="1400" b="1" i="1" u="none" strike="noStrike" dirty="0" smtClean="0">
                <a:solidFill>
                  <a:srgbClr val="6C6F70"/>
                </a:solidFill>
                <a:latin typeface="Calibri"/>
              </a:rPr>
              <a:t> de Santiago.</a:t>
            </a:r>
            <a:endParaRPr sz="1400" b="1" i="1" u="none" strike="noStrike" dirty="0">
              <a:solidFill>
                <a:srgbClr val="6C6F70"/>
              </a:solidFill>
              <a:latin typeface="Calibri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238125" y="307657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’hébergement que vous voulez :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3448050"/>
            <a:ext cx="4438650" cy="1343025"/>
          </a:xfrm>
          <a:prstGeom prst="rect">
            <a:avLst/>
          </a:prstGeom>
        </p:spPr>
        <p:txBody>
          <a:bodyPr lIns="91440" tIns="45720" rIns="91440" bIns="45720" rtlCol="0">
            <a:normAutofit fontScale="50000" lnSpcReduction="20000"/>
          </a:bodyPr>
          <a:lstStyle/>
          <a:p>
            <a:pPr marL="0" marR="0" lvl="0" indent="0" algn="just" fontAlgn="base"/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Les 406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parti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un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âtim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9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étag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esservi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ar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scenseur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ou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équipé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i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che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èche-cheveux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limatisati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TV satellite, radio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élépho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minibar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ff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avec participation). L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bles standard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v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25 m² - type A)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érieu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v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25 m² - type C)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ffr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euv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ccueilli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jusqu'à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1 enfan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3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le li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plémentai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s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banquette-lit). L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érieu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ropos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un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nécessai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h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/café, les peignoirs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usso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L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quadrupl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vill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ontag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mposé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’u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d’un petit salon, 2 TV satellite et chais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ongu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minimum et max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s 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F - le li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plémentai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s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banquette-lit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bles standard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v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25 m² - type G, minimum et max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1 enfant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ossibilit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individuell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standard - type A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érieu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 C). Pas de li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éb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ossibl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les doubles avec un li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plémentai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les quadrupl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ccupé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ar 4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ersonn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sp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3" name="ZoneTexte 12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 + qui change tout :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Le site grandiose
Sa piscin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lagon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avec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
Le restaurant principal avec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a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anoramique</a:t>
            </a:r>
            <a:endParaRPr sz="1200" b="1" i="0" u="none" strike="noStrike" dirty="0">
              <a:solidFill>
                <a:srgbClr val="6C6F70"/>
              </a:solidFill>
              <a:latin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a restauration que vous aimez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3438525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Le restaurant principal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ou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accueill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pour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éguste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otr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petit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éjeune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éjeune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îne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elon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otr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formul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autou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de buffets, tout en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profitant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de la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panoramiqu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l'Atlantiqu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.
</a:t>
            </a:r>
            <a:endParaRPr lang="fr-FR" sz="140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"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La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Tasca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" (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réservation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et avec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upplément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)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ouvert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l'été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les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endredi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l'hive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les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endredi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amedi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pour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éguste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tapas et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pécialité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locales</a:t>
            </a:r>
            <a:r>
              <a:rPr lang="fr-FR" sz="1400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
</a:t>
            </a:r>
            <a:endParaRPr lang="fr-FR" sz="140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1 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snack à la piscine avec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l'îl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de la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Gomera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. 4 bars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ont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1 bar-piscine et 1 bar à tapas le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oi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23" name="Picture 22" descr="D:\Doc\ELDO\sant1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7775" y="3466275"/>
            <a:ext cx="4050000" cy="269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5" descr="D:\Doc\ELDO\sant5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2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s services dont vous disposez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Prêt de serviettes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avec caution). </a:t>
            </a:r>
            <a:endParaRPr lang="fr-FR" sz="16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endParaRPr lang="fr-FR" sz="16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r>
              <a:rPr sz="1600" b="0" i="0" u="none" strike="noStrike" dirty="0" err="1" smtClean="0">
                <a:solidFill>
                  <a:srgbClr val="6C6F70"/>
                </a:solidFill>
                <a:latin typeface="Calibri"/>
              </a:rPr>
              <a:t>Blanchisseri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salon de coiffure, boutique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érett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Internet avec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plém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Wi-fi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gratui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30 minutes par jour à la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ception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endParaRPr lang="fr-FR" sz="16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endParaRPr lang="fr-FR" sz="1600" dirty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r>
              <a:rPr lang="fr-FR" sz="1600" b="0" i="0" u="none" strike="noStrike" dirty="0" smtClean="0">
                <a:solidFill>
                  <a:srgbClr val="6C6F70"/>
                </a:solidFill>
                <a:latin typeface="Calibri"/>
              </a:rPr>
              <a:t>Activités sportives (détail sur </a:t>
            </a:r>
            <a:r>
              <a:rPr lang="fr-FR" sz="1600" b="0" i="0" u="none" strike="noStrike" dirty="0" err="1" smtClean="0">
                <a:solidFill>
                  <a:srgbClr val="6C6F70"/>
                </a:solidFill>
                <a:latin typeface="Calibri"/>
              </a:rPr>
              <a:t>slide</a:t>
            </a:r>
            <a:r>
              <a:rPr lang="fr-FR" sz="1600" b="0" i="0" u="none" strike="noStrike" dirty="0" smtClean="0">
                <a:solidFill>
                  <a:srgbClr val="6C6F70"/>
                </a:solidFill>
                <a:latin typeface="Calibri"/>
              </a:rPr>
              <a:t> dédié)</a:t>
            </a:r>
            <a:endParaRPr sz="1600" b="0" i="0" u="none" strike="noStrike" dirty="0">
              <a:solidFill>
                <a:srgbClr val="6C6F70"/>
              </a:solidFill>
              <a:latin typeface="Calibri"/>
            </a:endParaRPr>
          </a:p>
        </p:txBody>
      </p:sp>
      <p:pic>
        <p:nvPicPr>
          <p:cNvPr id="15" name="Picture 13" descr="D:\Doc\ELDO\sant3.jpg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280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age 2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1040" name="Picture 16" descr="D:\Doc\ELDO\sant6.jpg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66287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7" name="Picture 23" descr="D:\Doc\ELDO\sant2.jp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La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famill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d'abord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87500" lnSpcReduction="20000"/>
          </a:bodyPr>
          <a:lstStyle/>
          <a:p>
            <a:pPr marL="0" marR="0" lvl="0" indent="0" algn="just" fontAlgn="base"/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No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équip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cueillent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vo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6j/7 de 9h à 17h30 avec un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dédié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à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chaqu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tranche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d’âg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Tout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aison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: Petit </a:t>
            </a:r>
            <a:r>
              <a:rPr lang="fr-FR" sz="1200" i="0" u="none" strike="noStrike" dirty="0" smtClean="0">
                <a:solidFill>
                  <a:srgbClr val="6C6F70"/>
                </a:solidFill>
                <a:latin typeface="Calibri"/>
              </a:rPr>
              <a:t>Jet</a:t>
            </a:r>
            <a:r>
              <a:rPr sz="12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(3-4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 et Mini </a:t>
            </a:r>
            <a:r>
              <a:rPr lang="fr-FR" sz="1200" i="0" u="none" strike="noStrike" dirty="0" smtClean="0">
                <a:solidFill>
                  <a:srgbClr val="6C6F70"/>
                </a:solidFill>
                <a:latin typeface="Calibri"/>
              </a:rPr>
              <a:t>Jet</a:t>
            </a:r>
            <a:r>
              <a:rPr sz="12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(4-6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. Pendant les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vacanc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colair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: Maxi </a:t>
            </a:r>
            <a:r>
              <a:rPr lang="fr-FR" sz="1200" i="0" u="none" strike="noStrike" dirty="0" smtClean="0">
                <a:solidFill>
                  <a:srgbClr val="6C6F70"/>
                </a:solidFill>
                <a:latin typeface="Calibri"/>
              </a:rPr>
              <a:t>Jet</a:t>
            </a:r>
            <a:r>
              <a:rPr sz="12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(7-10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. Au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de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nombreus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journé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(chasse aux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trésor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tournoi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portif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Olympiad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créativ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musicaux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...) et en soirée (mini disco, spectacles, soirée VIP…).</a:t>
            </a:r>
            <a:r>
              <a:rPr dirty="0"/>
              <a:t/>
            </a:r>
            <a:br>
              <a:rPr dirty="0"/>
            </a:b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No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imateur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donnent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RDV aux Teens (11 à 13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 et aux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do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(14 à 17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 au Studio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un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espac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dédié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6j/7 de 10h à 18h pendant les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vacanc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colair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. Au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: de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nombreus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journé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espac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Internet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vidéo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et Wii, baby-foot, séance shooting photos, body painting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portiv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cour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de cuisine, et en soirée (cocktail VIP, participation au spectacle …)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sp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Pour la famille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600" b="0" i="0" u="none" strike="noStrike">
                <a:solidFill>
                  <a:srgbClr val="6C6F70"/>
                </a:solidFill>
                <a:latin typeface="Calibri"/>
              </a:rPr>
              <a:t>Le club dispose de chambres doubles avec lit supplémentaire ou chambres quadruples, les familles pourront ainsi profiter d’un bon confort et de structures dédiées aux enfants.</a:t>
            </a:r>
          </a:p>
        </p:txBody>
      </p:sp>
      <p:pic>
        <p:nvPicPr>
          <p:cNvPr id="3074" name="Picture 2" descr="D:\DavidKierkegaard\20151104 Fiches logotés JT\asset.3d292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28"/>
          <a:stretch/>
        </p:blipFill>
        <p:spPr bwMode="auto">
          <a:xfrm>
            <a:off x="239729" y="152400"/>
            <a:ext cx="2862882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D:\DavidKierkegaard\20151104 Fiches logotés JT\Image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9650" y="3469896"/>
            <a:ext cx="4048125" cy="2695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20" name="Image 19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4817775" y="3466275"/>
            <a:ext cx="4050000" cy="2696400"/>
          </a:xfrm>
          <a:prstGeom prst="rect">
            <a:avLst/>
          </a:prstGeom>
        </p:spPr>
      </p:pic>
      <p:pic>
        <p:nvPicPr>
          <p:cNvPr id="16" name="Picture 20" descr="D:\Doc\ELDO\sant10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23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'Ambiance et le sport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algn="just" fontAlgn="base"/>
            <a:r>
              <a:rPr lang="fr-FR" sz="1200" b="1" dirty="0">
                <a:solidFill>
                  <a:srgbClr val="6C6F70"/>
                </a:solidFill>
                <a:latin typeface="Calibri"/>
              </a:rPr>
              <a:t>Sports et </a:t>
            </a:r>
            <a:r>
              <a:rPr lang="fr-FR" sz="1200" b="1" dirty="0" smtClean="0">
                <a:solidFill>
                  <a:srgbClr val="6C6F70"/>
                </a:solidFill>
                <a:latin typeface="Calibri"/>
              </a:rPr>
              <a:t>loisirs:</a:t>
            </a:r>
          </a:p>
          <a:p>
            <a:pPr algn="just" fontAlgn="base"/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3 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piscines dont 1 chauffée et 1 à débordement, 1 bain à remous.</a:t>
            </a:r>
            <a:br>
              <a:rPr lang="fr-FR" sz="1200" dirty="0">
                <a:solidFill>
                  <a:srgbClr val="6C6F70"/>
                </a:solidFill>
                <a:latin typeface="Calibri"/>
              </a:rPr>
            </a:br>
            <a:r>
              <a:rPr lang="fr-FR" sz="1200" dirty="0">
                <a:solidFill>
                  <a:srgbClr val="6C6F70"/>
                </a:solidFill>
                <a:latin typeface="Calibri"/>
              </a:rPr>
              <a:t>Chaque jour, un programme de sports et d’activités à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découvrir! Salle 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de remise en forme, aérobic, tennis de table, aquagym, tir à l'arc et à la carabine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. Egalement: tennis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,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billard (</a:t>
            </a:r>
            <a:r>
              <a:rPr lang="fr-FR" sz="1200" dirty="0">
                <a:solidFill>
                  <a:srgbClr val="6C6F70"/>
                </a:solidFill>
              </a:rPr>
              <a:t>Avec </a:t>
            </a:r>
            <a:r>
              <a:rPr lang="fr-FR" sz="1200" dirty="0" smtClean="0">
                <a:solidFill>
                  <a:srgbClr val="6C6F70"/>
                </a:solidFill>
              </a:rPr>
              <a:t>participation)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.</a:t>
            </a:r>
          </a:p>
          <a:p>
            <a:pPr algn="just" fontAlgn="base"/>
            <a:r>
              <a:rPr lang="fr-FR" sz="1200" b="1" smtClean="0">
                <a:solidFill>
                  <a:srgbClr val="6C6F70"/>
                </a:solidFill>
                <a:latin typeface="Calibri"/>
              </a:rPr>
              <a:t>Les Jet </a:t>
            </a:r>
            <a:r>
              <a:rPr lang="fr-FR" sz="1200" b="1" dirty="0" err="1">
                <a:solidFill>
                  <a:srgbClr val="6C6F70"/>
                </a:solidFill>
                <a:latin typeface="Calibri"/>
              </a:rPr>
              <a:t>Schools</a:t>
            </a:r>
            <a:r>
              <a:rPr lang="fr-FR" sz="1200" b="1" dirty="0">
                <a:solidFill>
                  <a:srgbClr val="6C6F70"/>
                </a:solidFill>
                <a:latin typeface="Calibri"/>
              </a:rPr>
              <a:t> :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 </a:t>
            </a:r>
            <a:endParaRPr lang="fr-FR" sz="1200" dirty="0" smtClean="0">
              <a:solidFill>
                <a:srgbClr val="6C6F70"/>
              </a:solidFill>
              <a:latin typeface="Calibri"/>
            </a:endParaRPr>
          </a:p>
          <a:p>
            <a:pPr algn="just" fontAlgn="base"/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Vos 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cours collectifs de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sport. Pour 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découvrir ou vous perfectionner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au </a:t>
            </a:r>
            <a:r>
              <a:rPr lang="fr-FR" sz="1200" dirty="0" err="1" smtClean="0">
                <a:solidFill>
                  <a:srgbClr val="6C6F70"/>
                </a:solidFill>
                <a:latin typeface="Calibri"/>
              </a:rPr>
              <a:t>step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, body </a:t>
            </a:r>
            <a:r>
              <a:rPr lang="fr-FR" sz="1200" dirty="0" err="1">
                <a:solidFill>
                  <a:srgbClr val="6C6F70"/>
                </a:solidFill>
                <a:latin typeface="Calibri"/>
              </a:rPr>
              <a:t>sculpt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, </a:t>
            </a:r>
            <a:r>
              <a:rPr lang="fr-FR" sz="1200" dirty="0" err="1">
                <a:solidFill>
                  <a:srgbClr val="6C6F70"/>
                </a:solidFill>
                <a:latin typeface="Calibri"/>
              </a:rPr>
              <a:t>abdofessiers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... Jeux collectifs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Basket-ball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, volley-ball, terrain omnisports.</a:t>
            </a:r>
            <a:endParaRPr sz="1200" dirty="0">
              <a:solidFill>
                <a:srgbClr val="6C6F70"/>
              </a:solidFill>
              <a:latin typeface="Calibri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 + de l'animation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200" b="1" i="0" u="none" strike="noStrike">
                <a:solidFill>
                  <a:srgbClr val="6C6F70"/>
                </a:solidFill>
                <a:latin typeface="Calibri"/>
              </a:rPr>
              <a:t>Venez vous détendre autour de la piscine dédiée au calme, au Spa ou à la terrasse du bar avec fond musical...</a:t>
            </a:r>
            <a:r>
              <a:t/>
            </a:r>
            <a:br/>
            <a:r>
              <a:rPr sz="1200" b="1" i="0" u="none" strike="noStrike">
                <a:solidFill>
                  <a:srgbClr val="6C6F70"/>
                </a:solidFill>
                <a:latin typeface="Calibri"/>
              </a:rPr>
              <a:t>La piste de danse au moment de l’apéritif, spectacles, soirée dansante, soirée jeux.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pic>
        <p:nvPicPr>
          <p:cNvPr id="18" name="Picture 17" descr="D:\Doc\ELDO\sant7.jpg"/>
          <p:cNvPicPr>
            <a:picLocks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2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72275"/>
          <a:chOff x="238125" y="152400"/>
          <a:chExt cx="8953500" cy="67722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38125" y="2562225"/>
            <a:ext cx="8715375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s excursions :</a:t>
            </a:r>
          </a:p>
        </p:txBody>
      </p:sp>
      <p:pic>
        <p:nvPicPr>
          <p:cNvPr id="14" name="Picture 18" descr="D:\Doc\ELDO\sant8.jpg"/>
          <p:cNvPicPr>
            <a:picLocks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4638675" y="2667000"/>
            <a:ext cx="4267200" cy="352425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 dirty="0"/>
          </a:p>
        </p:txBody>
      </p:sp>
      <p:sp>
        <p:nvSpPr>
          <p:cNvPr id="11" name="ZoneTexte 10"/>
          <p:cNvSpPr txBox="1"/>
          <p:nvPr/>
        </p:nvSpPr>
        <p:spPr>
          <a:xfrm>
            <a:off x="4638675" y="2667000"/>
            <a:ext cx="426720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Votr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formul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tout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compris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: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4638675" y="3048000"/>
            <a:ext cx="4267200" cy="31432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Repas: </a:t>
            </a:r>
          </a:p>
          <a:p>
            <a:pPr lvl="0" algn="just" fontAlgn="base"/>
            <a:r>
              <a:rPr lang="fr-FR" sz="1400" dirty="0" smtClean="0">
                <a:solidFill>
                  <a:srgbClr val="6C6F70"/>
                </a:solidFill>
              </a:rPr>
              <a:t>Petit déjeuner tardif jusqu'à 10h30. Déjeuners et dîners (buffets) au restaurant principal. Buffet à thème 2 fois par semaine. Snacks de 10h30 à 13h et de 15h à 18h30. Gâteaux de 15h à 18h</a:t>
            </a:r>
          </a:p>
          <a:p>
            <a:pPr lvl="0" algn="just" fontAlgn="base"/>
            <a:endParaRPr lang="fr-FR" sz="1400" dirty="0" smtClean="0">
              <a:solidFill>
                <a:srgbClr val="6C6F70"/>
              </a:solidFill>
            </a:endParaRPr>
          </a:p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Repas: </a:t>
            </a:r>
          </a:p>
          <a:p>
            <a:pPr lvl="0" algn="just" fontAlgn="base"/>
            <a:r>
              <a:rPr lang="fr-FR" sz="1400" dirty="0" smtClean="0">
                <a:solidFill>
                  <a:srgbClr val="6C6F70"/>
                </a:solidFill>
              </a:rPr>
              <a:t>Boissons incluses pendant les repas : eau, soda, jus de fruits, vin et bière. Sélection de boissons locales avec ou sans alcool de 10h à 23h au bar central. Café de 10h à 23h.</a:t>
            </a:r>
          </a:p>
          <a:p>
            <a:pPr lvl="0" algn="just" fontAlgn="base"/>
            <a:endParaRPr lang="fr-FR" sz="1400" dirty="0" smtClean="0"/>
          </a:p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Sports &amp; loisirs: </a:t>
            </a:r>
            <a:r>
              <a:rPr lang="fr-FR" sz="1400" dirty="0" smtClean="0">
                <a:solidFill>
                  <a:srgbClr val="6C6F70"/>
                </a:solidFill>
              </a:rPr>
              <a:t>large choix d’activités (voir </a:t>
            </a:r>
            <a:r>
              <a:rPr lang="fr-FR" sz="1400" dirty="0" err="1" smtClean="0">
                <a:solidFill>
                  <a:srgbClr val="6C6F70"/>
                </a:solidFill>
              </a:rPr>
              <a:t>slide</a:t>
            </a:r>
            <a:r>
              <a:rPr lang="fr-FR" sz="1400" dirty="0" smtClean="0">
                <a:solidFill>
                  <a:srgbClr val="6C6F70"/>
                </a:solidFill>
              </a:rPr>
              <a:t> dédiée).</a:t>
            </a:r>
          </a:p>
          <a:p>
            <a:pPr lvl="0" algn="just" fontAlgn="base"/>
            <a:endParaRPr lang="fr-FR" sz="1400" b="1" dirty="0" smtClean="0">
              <a:solidFill>
                <a:srgbClr val="6C6F70"/>
              </a:solidFill>
            </a:endParaRPr>
          </a:p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Accès aux clubs: </a:t>
            </a:r>
            <a:r>
              <a:rPr lang="fr-FR" sz="1400" dirty="0" smtClean="0">
                <a:solidFill>
                  <a:srgbClr val="6C6F70"/>
                </a:solidFill>
              </a:rPr>
              <a:t>pour les enfants &amp; ados</a:t>
            </a:r>
            <a:endParaRPr lang="fr-FR" sz="1400" b="1" dirty="0" smtClean="0">
              <a:solidFill>
                <a:srgbClr val="6C6F7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3</Words>
  <Application>Microsoft Office PowerPoint</Application>
  <PresentationFormat>Affichage à l'écran (4:3)</PresentationFormat>
  <Paragraphs>47</Paragraphs>
  <Slides>8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0" baseType="lpstr">
      <vt:lpstr>Office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Microsof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</dc:title>
  <dc:subject>PowerPoint</dc:subject>
  <dc:creator>SYSPAD_TC COMPOS-JULIOT</dc:creator>
  <cp:keywords>PowerPoint</cp:keywords>
  <dc:description>PowerPoint</dc:description>
  <cp:lastModifiedBy>Gabaud, Alexandra</cp:lastModifiedBy>
  <cp:revision>17</cp:revision>
  <dcterms:created xsi:type="dcterms:W3CDTF">2015-03-10T14:13:28Z</dcterms:created>
  <dcterms:modified xsi:type="dcterms:W3CDTF">2015-12-09T12:57:17Z</dcterms:modified>
  <cp:category>PowerPoint</cp:category>
</cp:coreProperties>
</file>